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435" r:id="rId2"/>
    <p:sldId id="442" r:id="rId3"/>
    <p:sldId id="441" r:id="rId4"/>
    <p:sldId id="443" r:id="rId5"/>
    <p:sldId id="444" r:id="rId6"/>
    <p:sldId id="452" r:id="rId7"/>
    <p:sldId id="445" r:id="rId8"/>
    <p:sldId id="446" r:id="rId9"/>
    <p:sldId id="448" r:id="rId10"/>
    <p:sldId id="451" r:id="rId11"/>
    <p:sldId id="449" r:id="rId12"/>
    <p:sldId id="450" r:id="rId13"/>
    <p:sldId id="419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B7FF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335" autoAdjust="0"/>
    <p:restoredTop sz="85160" autoAdjust="0"/>
  </p:normalViewPr>
  <p:slideViewPr>
    <p:cSldViewPr snapToGrid="0">
      <p:cViewPr>
        <p:scale>
          <a:sx n="90" d="100"/>
          <a:sy n="90" d="100"/>
        </p:scale>
        <p:origin x="-3200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7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6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493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37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2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5247006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6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ocker.com/compose/compose-file" TargetMode="External"/><Relationship Id="rId4" Type="http://schemas.openxmlformats.org/officeDocument/2006/relationships/hyperlink" Target="https://docs.docker.com/compose/reference" TargetMode="Externa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20" Type="http://schemas.openxmlformats.org/officeDocument/2006/relationships/image" Target="../media/image26.png"/><Relationship Id="rId10" Type="http://schemas.openxmlformats.org/officeDocument/2006/relationships/image" Target="../media/image16.png"/><Relationship Id="rId11" Type="http://schemas.openxmlformats.org/officeDocument/2006/relationships/image" Target="../media/image17.png"/><Relationship Id="rId12" Type="http://schemas.openxmlformats.org/officeDocument/2006/relationships/image" Target="../media/image18.png"/><Relationship Id="rId13" Type="http://schemas.openxmlformats.org/officeDocument/2006/relationships/image" Target="../media/image19.png"/><Relationship Id="rId14" Type="http://schemas.openxmlformats.org/officeDocument/2006/relationships/image" Target="../media/image20.png"/><Relationship Id="rId15" Type="http://schemas.openxmlformats.org/officeDocument/2006/relationships/image" Target="../media/image21.png"/><Relationship Id="rId16" Type="http://schemas.openxmlformats.org/officeDocument/2006/relationships/image" Target="../media/image22.png"/><Relationship Id="rId17" Type="http://schemas.openxmlformats.org/officeDocument/2006/relationships/image" Target="../media/image23.png"/><Relationship Id="rId18" Type="http://schemas.openxmlformats.org/officeDocument/2006/relationships/image" Target="../media/image24.png"/><Relationship Id="rId19" Type="http://schemas.openxmlformats.org/officeDocument/2006/relationships/image" Target="../media/image25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1.emf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185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357357" y="2095017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The </a:t>
            </a:r>
            <a:r>
              <a:rPr lang="de-DE" dirty="0" err="1" smtClean="0"/>
              <a:t>Composition</a:t>
            </a:r>
            <a:r>
              <a:rPr lang="de-DE" dirty="0" smtClean="0"/>
              <a:t> Par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357357" y="35374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2808700" y="272792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2808700" y="4196459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Textfeld 9"/>
          <p:cNvSpPr txBox="1"/>
          <p:nvPr/>
        </p:nvSpPr>
        <p:spPr>
          <a:xfrm>
            <a:off x="1357355" y="5046309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5459896" y="1339531"/>
            <a:ext cx="5671930" cy="4544434"/>
            <a:chOff x="5459896" y="1339531"/>
            <a:chExt cx="5671930" cy="4544434"/>
          </a:xfrm>
        </p:grpSpPr>
        <p:sp>
          <p:nvSpPr>
            <p:cNvPr id="28" name="Abgerundete rechteckige Legende 27"/>
            <p:cNvSpPr/>
            <p:nvPr/>
          </p:nvSpPr>
          <p:spPr>
            <a:xfrm>
              <a:off x="5459896" y="1339531"/>
              <a:ext cx="5671930" cy="4544434"/>
            </a:xfrm>
            <a:prstGeom prst="wedgeRoundRectCallout">
              <a:avLst>
                <a:gd name="adj1" fmla="val -61721"/>
                <a:gd name="adj2" fmla="val -28261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5627630" y="3447644"/>
              <a:ext cx="4433778" cy="827608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2" name="Abgerundetes Rechteck 11"/>
            <p:cNvSpPr/>
            <p:nvPr/>
          </p:nvSpPr>
          <p:spPr>
            <a:xfrm>
              <a:off x="6787133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endParaRPr lang="de-DE" dirty="0" smtClean="0"/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5752526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7920128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6829960" y="5065404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MySQL</a:t>
              </a:r>
            </a:p>
          </p:txBody>
        </p:sp>
        <p:cxnSp>
          <p:nvCxnSpPr>
            <p:cNvPr id="16" name="Gerader Verbinder 15"/>
            <p:cNvCxnSpPr>
              <a:stCxn id="12" idx="2"/>
              <a:endCxn id="13" idx="0"/>
            </p:cNvCxnSpPr>
            <p:nvPr/>
          </p:nvCxnSpPr>
          <p:spPr>
            <a:xfrm flipH="1">
              <a:off x="6746670" y="2555510"/>
              <a:ext cx="1034607" cy="1113303"/>
            </a:xfrm>
            <a:prstGeom prst="line">
              <a:avLst/>
            </a:prstGeom>
            <a:ln w="31750" cmpd="sng">
              <a:solidFill>
                <a:schemeClr val="tx2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>
              <a:stCxn id="12" idx="2"/>
              <a:endCxn id="14" idx="0"/>
            </p:cNvCxnSpPr>
            <p:nvPr/>
          </p:nvCxnSpPr>
          <p:spPr>
            <a:xfrm>
              <a:off x="7781277" y="2555510"/>
              <a:ext cx="1132995" cy="111330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endCxn id="12" idx="0"/>
            </p:cNvCxnSpPr>
            <p:nvPr/>
          </p:nvCxnSpPr>
          <p:spPr>
            <a:xfrm>
              <a:off x="7781277" y="1717654"/>
              <a:ext cx="0" cy="417288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>
              <a:stCxn id="13" idx="2"/>
              <a:endCxn id="15" idx="0"/>
            </p:cNvCxnSpPr>
            <p:nvPr/>
          </p:nvCxnSpPr>
          <p:spPr>
            <a:xfrm>
              <a:off x="6746670" y="4089381"/>
              <a:ext cx="1077434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>
              <a:stCxn id="14" idx="2"/>
              <a:endCxn id="15" idx="0"/>
            </p:cNvCxnSpPr>
            <p:nvPr/>
          </p:nvCxnSpPr>
          <p:spPr>
            <a:xfrm flipH="1">
              <a:off x="7824104" y="4089381"/>
              <a:ext cx="1090168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>
            <a:xfrm>
              <a:off x="7285387" y="1369171"/>
              <a:ext cx="11038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HTTP 80</a:t>
              </a:r>
              <a:endParaRPr lang="de-DE" dirty="0"/>
            </a:p>
          </p:txBody>
        </p:sp>
        <p:sp>
          <p:nvSpPr>
            <p:cNvPr id="22" name="Abgerundetes Rechteck 21"/>
            <p:cNvSpPr/>
            <p:nvPr/>
          </p:nvSpPr>
          <p:spPr>
            <a:xfrm>
              <a:off x="8914272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r>
                <a:rPr lang="de-DE" dirty="0" smtClean="0"/>
                <a:t> </a:t>
              </a:r>
              <a:r>
                <a:rPr lang="de-DE" sz="1400" dirty="0" smtClean="0"/>
                <a:t>(</a:t>
              </a:r>
              <a:r>
                <a:rPr lang="de-DE" sz="1400" dirty="0" err="1" smtClean="0"/>
                <a:t>standby</a:t>
              </a:r>
              <a:r>
                <a:rPr lang="de-DE" sz="1400" dirty="0" smtClean="0"/>
                <a:t>)</a:t>
              </a:r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6558532" y="1982598"/>
              <a:ext cx="4433778" cy="797816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863595" y="3130035"/>
              <a:ext cx="131959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caling</a:t>
              </a:r>
              <a:r>
                <a:rPr lang="de-DE" sz="1400" i="1" dirty="0" smtClean="0"/>
                <a:t> Group</a:t>
              </a:r>
              <a:endParaRPr lang="de-DE" sz="1400" i="1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8530576" y="1668117"/>
              <a:ext cx="24767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smtClean="0"/>
                <a:t>High </a:t>
              </a:r>
              <a:r>
                <a:rPr lang="de-DE" sz="1400" i="1" dirty="0" err="1" smtClean="0"/>
                <a:t>Availability</a:t>
              </a:r>
              <a:r>
                <a:rPr lang="de-DE" sz="1400" i="1" dirty="0" smtClean="0"/>
                <a:t> / Replication</a:t>
              </a:r>
              <a:endParaRPr lang="de-DE" sz="1400" i="1" dirty="0"/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6621848" y="4898927"/>
              <a:ext cx="2314670" cy="741645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8223036" y="4609200"/>
              <a:ext cx="79220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tateful</a:t>
              </a:r>
              <a:endParaRPr lang="de-DE" sz="14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99072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186" y="1329050"/>
            <a:ext cx="3809910" cy="375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9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3756922" y="1935078"/>
            <a:ext cx="7520678" cy="40005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988" y="1935078"/>
            <a:ext cx="3809910" cy="37500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129883" y="310582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9129883" y="4111930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9129883" y="5118031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 smtClean="0"/>
          </a:p>
        </p:txBody>
      </p:sp>
      <p:sp>
        <p:nvSpPr>
          <p:cNvPr id="10" name="Rectangle 9"/>
          <p:cNvSpPr/>
          <p:nvPr/>
        </p:nvSpPr>
        <p:spPr>
          <a:xfrm>
            <a:off x="5729379" y="3239087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9317721" y="3204706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317720" y="421080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9317719" y="5216908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754151" y="455785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529989" y="2142424"/>
            <a:ext cx="23519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Images from </a:t>
            </a:r>
            <a:r>
              <a:rPr lang="en-US" i="1" smtClean="0"/>
              <a:t>registry </a:t>
            </a:r>
            <a:br>
              <a:rPr lang="en-US" i="1" smtClean="0"/>
            </a:br>
            <a:r>
              <a:rPr lang="en-US" i="1" smtClean="0"/>
              <a:t>or local repo</a:t>
            </a:r>
            <a:endParaRPr lang="en-US" i="1"/>
          </a:p>
        </p:txBody>
      </p:sp>
      <p:sp>
        <p:nvSpPr>
          <p:cNvPr id="17" name="TextBox 16"/>
          <p:cNvSpPr txBox="1"/>
          <p:nvPr/>
        </p:nvSpPr>
        <p:spPr>
          <a:xfrm>
            <a:off x="5704607" y="33184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ockerfile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729379" y="46933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ockerfil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493147" y="2142424"/>
            <a:ext cx="17107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Recipe to build</a:t>
            </a:r>
            <a:br>
              <a:rPr lang="en-US" i="1" dirty="0" smtClean="0"/>
            </a:br>
            <a:r>
              <a:rPr lang="en-US" i="1" dirty="0" smtClean="0"/>
              <a:t>an image</a:t>
            </a:r>
            <a:endParaRPr lang="en-US" i="1" dirty="0"/>
          </a:p>
        </p:txBody>
      </p:sp>
      <p:sp>
        <p:nvSpPr>
          <p:cNvPr id="20" name="Oval 19"/>
          <p:cNvSpPr/>
          <p:nvPr/>
        </p:nvSpPr>
        <p:spPr>
          <a:xfrm>
            <a:off x="5898453" y="4454887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5998664" y="3127535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Oval 22"/>
          <p:cNvSpPr/>
          <p:nvPr/>
        </p:nvSpPr>
        <p:spPr>
          <a:xfrm>
            <a:off x="9004346" y="427626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4" name="Oval 23"/>
          <p:cNvSpPr/>
          <p:nvPr/>
        </p:nvSpPr>
        <p:spPr>
          <a:xfrm>
            <a:off x="9001490" y="5282361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5" name="Oval 24"/>
          <p:cNvSpPr/>
          <p:nvPr/>
        </p:nvSpPr>
        <p:spPr>
          <a:xfrm>
            <a:off x="8996590" y="325252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6" name="TextBox 25"/>
          <p:cNvSpPr txBox="1"/>
          <p:nvPr/>
        </p:nvSpPr>
        <p:spPr>
          <a:xfrm>
            <a:off x="6042476" y="4205855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Port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28" name="Straight Arrow Connector 27"/>
          <p:cNvCxnSpPr>
            <a:endCxn id="20" idx="0"/>
          </p:cNvCxnSpPr>
          <p:nvPr/>
        </p:nvCxnSpPr>
        <p:spPr>
          <a:xfrm>
            <a:off x="5998664" y="3822414"/>
            <a:ext cx="9517" cy="63247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997932" y="385508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Link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449910" y="3127534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36" name="Straight Arrow Connector 35"/>
          <p:cNvCxnSpPr>
            <a:stCxn id="10" idx="3"/>
            <a:endCxn id="25" idx="2"/>
          </p:cNvCxnSpPr>
          <p:nvPr/>
        </p:nvCxnSpPr>
        <p:spPr>
          <a:xfrm flipV="1">
            <a:off x="6918099" y="3371733"/>
            <a:ext cx="2078491" cy="15089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7" idx="3"/>
            <a:endCxn id="23" idx="2"/>
          </p:cNvCxnSpPr>
          <p:nvPr/>
        </p:nvCxnSpPr>
        <p:spPr>
          <a:xfrm>
            <a:off x="6915195" y="3503078"/>
            <a:ext cx="2089151" cy="89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8" idx="3"/>
            <a:endCxn id="24" idx="2"/>
          </p:cNvCxnSpPr>
          <p:nvPr/>
        </p:nvCxnSpPr>
        <p:spPr>
          <a:xfrm>
            <a:off x="6939967" y="4877978"/>
            <a:ext cx="2061523" cy="52359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endCxn id="26" idx="3"/>
          </p:cNvCxnSpPr>
          <p:nvPr/>
        </p:nvCxnSpPr>
        <p:spPr>
          <a:xfrm flipH="1" flipV="1">
            <a:off x="6765751" y="4390521"/>
            <a:ext cx="2361228" cy="18466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5493147" y="464518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4" name="Right Arrow 53"/>
          <p:cNvSpPr/>
          <p:nvPr/>
        </p:nvSpPr>
        <p:spPr>
          <a:xfrm flipH="1">
            <a:off x="10319883" y="3204706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5" name="Right Arrow 54"/>
          <p:cNvSpPr/>
          <p:nvPr/>
        </p:nvSpPr>
        <p:spPr>
          <a:xfrm flipH="1">
            <a:off x="10319883" y="4209303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6" name="Right Arrow 55"/>
          <p:cNvSpPr/>
          <p:nvPr/>
        </p:nvSpPr>
        <p:spPr>
          <a:xfrm flipH="1">
            <a:off x="10318598" y="5228438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7" name="Right Arrow 56"/>
          <p:cNvSpPr/>
          <p:nvPr/>
        </p:nvSpPr>
        <p:spPr>
          <a:xfrm>
            <a:off x="5437015" y="333057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8" name="TextBox 57"/>
          <p:cNvSpPr txBox="1"/>
          <p:nvPr/>
        </p:nvSpPr>
        <p:spPr>
          <a:xfrm>
            <a:off x="3917371" y="3176083"/>
            <a:ext cx="1518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Startup CMD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&amp; ENVVAR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6893663" y="3144889"/>
            <a:ext cx="2220411" cy="176610"/>
          </a:xfrm>
          <a:prstGeom prst="straightConnector1">
            <a:avLst/>
          </a:prstGeom>
          <a:ln w="31750" cmpd="sng">
            <a:solidFill>
              <a:schemeClr val="tx2"/>
            </a:solidFill>
            <a:prstDash val="sysDot"/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21384905">
            <a:off x="6891438" y="2788024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Startup dependency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3" name="Can 62"/>
          <p:cNvSpPr/>
          <p:nvPr/>
        </p:nvSpPr>
        <p:spPr>
          <a:xfrm>
            <a:off x="4430936" y="3985560"/>
            <a:ext cx="642273" cy="355700"/>
          </a:xfrm>
          <a:prstGeom prst="ca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64" name="Straight Arrow Connector 63"/>
          <p:cNvCxnSpPr/>
          <p:nvPr/>
        </p:nvCxnSpPr>
        <p:spPr>
          <a:xfrm flipH="1">
            <a:off x="5107504" y="3814294"/>
            <a:ext cx="639719" cy="24091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223321" y="4341260"/>
            <a:ext cx="1069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Volume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8" name="Rechteck 11"/>
          <p:cNvSpPr/>
          <p:nvPr/>
        </p:nvSpPr>
        <p:spPr>
          <a:xfrm>
            <a:off x="5073209" y="5987281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9" name="Rechteck 10"/>
          <p:cNvSpPr/>
          <p:nvPr/>
        </p:nvSpPr>
        <p:spPr>
          <a:xfrm>
            <a:off x="5073209" y="6294467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4"/>
              </a:rPr>
              <a:t>https://</a:t>
            </a:r>
            <a:r>
              <a:rPr lang="de-DE" dirty="0" smtClean="0">
                <a:hlinkClick r:id="rId4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499197" y="1084743"/>
            <a:ext cx="1147944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version: '2' </a:t>
            </a:r>
            <a:endParaRPr lang="en-US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1600" dirty="0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  <a:endParaRPr lang="de-DE" sz="1600" b="1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 smtClean="0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imag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gliderlab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consul-server:0.6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mman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"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ata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dir 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m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bootstrap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xpec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1 -server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i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nod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=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server"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nvironmen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GOMAXPROCS=10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300:8300"  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Server RPC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addres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3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500:8500"     #http - The HTTP API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5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600:8600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d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"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n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The DNS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600.</a:t>
            </a:r>
          </a:p>
          <a:p>
            <a:pPr lvl="1"/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>
                <a:latin typeface="Source Code Pro" charset="0"/>
                <a:ea typeface="Source Code Pro" charset="0"/>
                <a:cs typeface="Source Code Pro" charset="0"/>
              </a:rPr>
              <a:t>zwitscher-chuck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buil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endParaRPr lang="de-DE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context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: ../..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zwitscher-app-chuck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12340:12340"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huck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REST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ice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links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410029" y="5320463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424748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43408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363695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486632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5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124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9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5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202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307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/>
          <a:srcRect t="1141" b="46564"/>
          <a:stretch/>
        </p:blipFill>
        <p:spPr>
          <a:xfrm>
            <a:off x="2434136" y="3623177"/>
            <a:ext cx="7864065" cy="2756933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4065795" y="172278"/>
            <a:ext cx="2427770" cy="3166212"/>
            <a:chOff x="4065795" y="172278"/>
            <a:chExt cx="2427770" cy="3166212"/>
          </a:xfrm>
        </p:grpSpPr>
        <p:sp>
          <p:nvSpPr>
            <p:cNvPr id="17" name="Abgerundete rechteckige Legende 16"/>
            <p:cNvSpPr/>
            <p:nvPr/>
          </p:nvSpPr>
          <p:spPr>
            <a:xfrm>
              <a:off x="4065795" y="172278"/>
              <a:ext cx="2427770" cy="3166212"/>
            </a:xfrm>
            <a:prstGeom prst="wedgeRoundRectCallout">
              <a:avLst>
                <a:gd name="adj1" fmla="val -42454"/>
                <a:gd name="adj2" fmla="val 9556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4289908" y="1333595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Eureka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4184705" y="45077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78782" y="2297336"/>
              <a:ext cx="2187386" cy="531514"/>
            </a:xfrm>
            <a:prstGeom prst="rect">
              <a:avLst/>
            </a:prstGeom>
          </p:spPr>
        </p:pic>
      </p:grpSp>
      <p:grpSp>
        <p:nvGrpSpPr>
          <p:cNvPr id="16" name="Gruppieren 15"/>
          <p:cNvGrpSpPr/>
          <p:nvPr/>
        </p:nvGrpSpPr>
        <p:grpSpPr>
          <a:xfrm>
            <a:off x="6684359" y="172278"/>
            <a:ext cx="2427770" cy="3166212"/>
            <a:chOff x="6684359" y="172278"/>
            <a:chExt cx="2427770" cy="3166212"/>
          </a:xfrm>
        </p:grpSpPr>
        <p:sp>
          <p:nvSpPr>
            <p:cNvPr id="21" name="Abgerundete rechteckige Legende 20"/>
            <p:cNvSpPr/>
            <p:nvPr/>
          </p:nvSpPr>
          <p:spPr>
            <a:xfrm>
              <a:off x="6684359" y="172278"/>
              <a:ext cx="2427770" cy="3166212"/>
            </a:xfrm>
            <a:prstGeom prst="wedgeRoundRectCallout">
              <a:avLst>
                <a:gd name="adj1" fmla="val -51188"/>
                <a:gd name="adj2" fmla="val 13030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27" name="Picture 15" descr="http://hortonworks.com/wp-content/uploads/2016/03/zookeeper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2165" y="368336"/>
              <a:ext cx="1166647" cy="1054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feld 22"/>
            <p:cNvSpPr txBox="1"/>
            <p:nvPr/>
          </p:nvSpPr>
          <p:spPr>
            <a:xfrm>
              <a:off x="6802165" y="1340926"/>
              <a:ext cx="13356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Zookeeper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9" name="Picture 17" descr="https://coreos.com/assets/images/media/etcd2-0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35" t="21887" r="28784" b="26356"/>
            <a:stretch/>
          </p:blipFill>
          <p:spPr bwMode="auto">
            <a:xfrm>
              <a:off x="7181502" y="1707896"/>
              <a:ext cx="1723959" cy="700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6802165" y="251743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uppieren 13"/>
          <p:cNvGrpSpPr/>
          <p:nvPr/>
        </p:nvGrpSpPr>
        <p:grpSpPr>
          <a:xfrm>
            <a:off x="185528" y="172278"/>
            <a:ext cx="3711983" cy="3166212"/>
            <a:chOff x="185528" y="172278"/>
            <a:chExt cx="3711983" cy="3166212"/>
          </a:xfrm>
        </p:grpSpPr>
        <p:pic>
          <p:nvPicPr>
            <p:cNvPr id="13318" name="Picture 6" descr="https://3.bp.blogspot.com/-Tn6rtCHVXwI/VusrwgrFeZI/AAAAAAAAA8k/LtajgfwUSL0cpRjO7bRZfKdFx50HhD6kA/s1600/kon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3978" y="917735"/>
              <a:ext cx="1580322" cy="1580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Abgerundete rechteckige Legende 2"/>
            <p:cNvSpPr/>
            <p:nvPr/>
          </p:nvSpPr>
          <p:spPr>
            <a:xfrm>
              <a:off x="185529" y="172278"/>
              <a:ext cx="3711981" cy="3166212"/>
            </a:xfrm>
            <a:prstGeom prst="wedgeRoundRectCallout">
              <a:avLst>
                <a:gd name="adj1" fmla="val 29277"/>
                <a:gd name="adj2" fmla="val 78405"/>
                <a:gd name="adj3" fmla="val 16667"/>
              </a:avLst>
            </a:prstGeom>
            <a:noFill/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14" name="Picture 2" descr="https://tyk.io/wp-content/uploads/2016/04/tyk-green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14" y="880871"/>
              <a:ext cx="1450933" cy="567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https://traefik.io/traefik.log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9939" y="1218104"/>
              <a:ext cx="1047572" cy="1404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feld 1"/>
            <p:cNvSpPr txBox="1"/>
            <p:nvPr/>
          </p:nvSpPr>
          <p:spPr>
            <a:xfrm>
              <a:off x="291547" y="1447099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Zuul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0" name="Picture 8" descr="https://cdn.haproxy.com/static/img/logo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10" y="209339"/>
              <a:ext cx="2620989" cy="6203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22" name="Picture 10" descr="https://4.bp.blogspot.com/-AIGJJHemBHU/VsWb0Gs8J-I/AAAAAAAAL2s/OsZ8IYT90a4/s1600/Nginx-Logo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8110" y="2212664"/>
              <a:ext cx="1125826" cy="1125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2" name="Picture 20" descr="./fab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528" y="2241865"/>
              <a:ext cx="2226578" cy="762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8327476" y="5080741"/>
            <a:ext cx="3674786" cy="1699199"/>
            <a:chOff x="8327476" y="5080741"/>
            <a:chExt cx="3674786" cy="1699199"/>
          </a:xfrm>
        </p:grpSpPr>
        <p:sp>
          <p:nvSpPr>
            <p:cNvPr id="27" name="Abgerundete rechteckige Legende 26"/>
            <p:cNvSpPr/>
            <p:nvPr/>
          </p:nvSpPr>
          <p:spPr>
            <a:xfrm>
              <a:off x="8327476" y="5080741"/>
              <a:ext cx="3674786" cy="1699199"/>
            </a:xfrm>
            <a:prstGeom prst="wedgeRoundRectCallout">
              <a:avLst>
                <a:gd name="adj1" fmla="val -27825"/>
                <a:gd name="adj2" fmla="val -63197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499754" y="5116854"/>
              <a:ext cx="3330229" cy="1546994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958236" y="157930"/>
            <a:ext cx="2752804" cy="3166212"/>
            <a:chOff x="8958236" y="157930"/>
            <a:chExt cx="2752804" cy="3166212"/>
          </a:xfrm>
        </p:grpSpPr>
        <p:sp>
          <p:nvSpPr>
            <p:cNvPr id="33" name="Abgerundete rechteckige Legende 32"/>
            <p:cNvSpPr/>
            <p:nvPr/>
          </p:nvSpPr>
          <p:spPr>
            <a:xfrm>
              <a:off x="9259039" y="157930"/>
              <a:ext cx="2427770" cy="3166212"/>
            </a:xfrm>
            <a:prstGeom prst="wedgeRoundRectCallout">
              <a:avLst>
                <a:gd name="adj1" fmla="val -135703"/>
                <a:gd name="adj2" fmla="val 98960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35" name="Picture 23" descr="http://www.kotancode.com/wp-content/uploads/2015/08/springboot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1469" y="538999"/>
              <a:ext cx="1741263" cy="547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7" name="Picture 25" descr="http://wildfly-swarm.io/images/swarm_logo_final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8236" y="2071829"/>
              <a:ext cx="2752804" cy="757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9" name="Picture 27" descr="http://blog.scalac.io/images/logom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1466" y="1467323"/>
              <a:ext cx="1766501" cy="451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495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93210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21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344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957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52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386</Words>
  <Application>Microsoft Macintosh PowerPoint</Application>
  <PresentationFormat>Widescreen</PresentationFormat>
  <Paragraphs>139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legreya Sans Black</vt:lpstr>
      <vt:lpstr>Arial Narrow</vt:lpstr>
      <vt:lpstr>Calibri</vt:lpstr>
      <vt:lpstr>Cambria Math</vt:lpstr>
      <vt:lpstr>Lucida Grande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Cloud Native Stack</vt:lpstr>
      <vt:lpstr>PowerPoint Presentation</vt:lpstr>
      <vt:lpstr>PowerPoint Presentation</vt:lpstr>
      <vt:lpstr>The Cloud Native Stack</vt:lpstr>
      <vt:lpstr>Ops Components can also be carved out of Classical Software.</vt:lpstr>
      <vt:lpstr>The Cloud Native Stack</vt:lpstr>
      <vt:lpstr>Cluster Orchestration: The Composition Part</vt:lpstr>
      <vt:lpstr>Docker Compose</vt:lpstr>
      <vt:lpstr>Docker Compose Overview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48</cp:revision>
  <dcterms:created xsi:type="dcterms:W3CDTF">2014-10-08T07:51:16Z</dcterms:created>
  <dcterms:modified xsi:type="dcterms:W3CDTF">2016-11-06T17:15:34Z</dcterms:modified>
</cp:coreProperties>
</file>